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94"/>
  </p:notesMasterIdLst>
  <p:handoutMasterIdLst>
    <p:handoutMasterId r:id="rId95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2147483542" r:id="rId62"/>
    <p:sldId id="2147483543" r:id="rId63"/>
    <p:sldId id="301" r:id="rId64"/>
    <p:sldId id="2147483514" r:id="rId65"/>
    <p:sldId id="2147483511" r:id="rId66"/>
    <p:sldId id="2147483515" r:id="rId67"/>
    <p:sldId id="2147483516" r:id="rId68"/>
    <p:sldId id="2147483517" r:id="rId69"/>
    <p:sldId id="2147483518" r:id="rId70"/>
    <p:sldId id="2147483519" r:id="rId71"/>
    <p:sldId id="2147483520" r:id="rId72"/>
    <p:sldId id="2147483521" r:id="rId73"/>
    <p:sldId id="2147483522" r:id="rId74"/>
  </p:sldIdLst>
  <p:sldSz cx="12195175" cy="6858000"/>
  <p:notesSz cx="6858000" cy="9144000"/>
  <p:embeddedFontLst>
    <p:embeddedFont>
      <p:font typeface="72 Brand" panose="020B0504030603020204"/>
      <p:regular r:id="rId96"/>
      <p:bold r:id="rId97"/>
      <p:italic r:id="rId98"/>
      <p:boldItalic r:id="rId99"/>
    </p:embeddedFont>
    <p:embeddedFont>
      <p:font typeface="72 Brand Medium" panose="020B0604030603020204" pitchFamily="34" charset="0"/>
      <p:regular r:id="rId100"/>
      <p:bold r:id="rId101"/>
      <p:italic r:id="rId102"/>
      <p:boldItalic r:id="rId103"/>
    </p:embeddedFont>
    <p:embeddedFont>
      <p:font typeface="Arial Unicode MS" panose="020B0604020202020204" pitchFamily="34" charset="-128"/>
      <p:regular r:id="rId104"/>
      <p:bold r:id="rId105"/>
    </p:embeddedFont>
    <p:embeddedFont>
      <p:font typeface="Consolas" panose="020B0609020204030204" pitchFamily="49" charset="0"/>
      <p:regular r:id="rId106"/>
      <p:bold r:id="rId107"/>
      <p:italic r:id="rId108"/>
      <p:boldItalic r:id="rId109"/>
    </p:embeddedFont>
    <p:embeddedFont>
      <p:font typeface="Graphik Light" panose="020F0502020204030204" pitchFamily="34" charset="0"/>
      <p:regular r:id="rId110"/>
      <p:bold r:id="rId111"/>
      <p:italic r:id="rId112"/>
      <p:boldItalic r:id="rId113"/>
    </p:embeddedFont>
    <p:embeddedFont>
      <p:font typeface="Roboto" panose="02000000000000000000" pitchFamily="2" charset="0"/>
      <p:regular r:id="rId114"/>
      <p:bold r:id="rId115"/>
      <p:italic r:id="rId116"/>
      <p:boldItalic r:id="rId117"/>
    </p:embeddedFont>
    <p:embeddedFont>
      <p:font typeface="Segoe UI" panose="020B0502040204020203" pitchFamily="34" charset="0"/>
      <p:regular r:id="rId118"/>
      <p:bold r:id="rId119"/>
      <p:italic r:id="rId120"/>
      <p:boldItalic r:id="rId121"/>
    </p:embeddedFont>
  </p:embeddedFontLst>
  <p:custDataLst>
    <p:tags r:id="rId122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2147483542"/>
            <p14:sldId id="2147483543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38"/>
            <p14:sldId id="2147483539"/>
            <p14:sldId id="2147483540"/>
            <p14:sldId id="214748354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2C7D4B-1DEC-771A-3C84-DA5C98524EAF}" v="343" dt="2026-01-23T11:28:12.462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04"/>
    <p:restoredTop sz="86394"/>
  </p:normalViewPr>
  <p:slideViewPr>
    <p:cSldViewPr snapToGrid="0">
      <p:cViewPr varScale="1">
        <p:scale>
          <a:sx n="137" d="100"/>
          <a:sy n="137" d="100"/>
        </p:scale>
        <p:origin x="896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slide" Target="slides/slide9.xml"/><Relationship Id="rId65" Type="http://schemas.openxmlformats.org/officeDocument/2006/relationships/slide" Target="slides/slide10.xml"/><Relationship Id="rId66" Type="http://schemas.openxmlformats.org/officeDocument/2006/relationships/slide" Target="slides/slide11.xml"/><Relationship Id="rId67" Type="http://schemas.openxmlformats.org/officeDocument/2006/relationships/slide" Target="slides/slide12.xml"/><Relationship Id="rId68" Type="http://schemas.openxmlformats.org/officeDocument/2006/relationships/slide" Target="slides/slide13.xml"/><Relationship Id="rId69" Type="http://schemas.openxmlformats.org/officeDocument/2006/relationships/slide" Target="slides/slide14.xml"/><Relationship Id="rId70" Type="http://schemas.openxmlformats.org/officeDocument/2006/relationships/slide" Target="slides/slide15.xml"/><Relationship Id="rId71" Type="http://schemas.openxmlformats.org/officeDocument/2006/relationships/slide" Target="slides/slide16.xml"/><Relationship Id="rId72" Type="http://schemas.openxmlformats.org/officeDocument/2006/relationships/slide" Target="slides/slide17.xml"/><Relationship Id="rId73" Type="http://schemas.openxmlformats.org/officeDocument/2006/relationships/slide" Target="slides/slide18.xml"/><Relationship Id="rId74" Type="http://schemas.openxmlformats.org/officeDocument/2006/relationships/slide" Target="slides/slide19.xml"/><Relationship Id="rId75" Type="http://schemas.openxmlformats.org/officeDocument/2006/relationships/slide" Target="slides/slide20.xml"/><Relationship Id="rId76" Type="http://schemas.openxmlformats.org/officeDocument/2006/relationships/slide" Target="slides/slide21.xml"/><Relationship Id="rId77" Type="http://schemas.openxmlformats.org/officeDocument/2006/relationships/slide" Target="slides/slide22.xml"/><Relationship Id="rId78" Type="http://schemas.openxmlformats.org/officeDocument/2006/relationships/slide" Target="slides/slide23.xml"/><Relationship Id="rId79" Type="http://schemas.openxmlformats.org/officeDocument/2006/relationships/slide" Target="slides/slide24.xml"/><Relationship Id="rId80" Type="http://schemas.openxmlformats.org/officeDocument/2006/relationships/slide" Target="slides/slide25.xml"/><Relationship Id="rId81" Type="http://schemas.openxmlformats.org/officeDocument/2006/relationships/slide" Target="slides/slide26.xml"/><Relationship Id="rId82" Type="http://schemas.openxmlformats.org/officeDocument/2006/relationships/slide" Target="slides/slide27.xml"/><Relationship Id="rId83" Type="http://schemas.openxmlformats.org/officeDocument/2006/relationships/slide" Target="slides/slide28.xml"/><Relationship Id="rId84" Type="http://schemas.openxmlformats.org/officeDocument/2006/relationships/slide" Target="slides/slide29.xml"/><Relationship Id="rId85" Type="http://schemas.openxmlformats.org/officeDocument/2006/relationships/slide" Target="slides/slide30.xml"/><Relationship Id="rId86" Type="http://schemas.openxmlformats.org/officeDocument/2006/relationships/slide" Target="slides/slide31.xml"/><Relationship Id="rId87" Type="http://schemas.openxmlformats.org/officeDocument/2006/relationships/slide" Target="slides/slide32.xml"/><Relationship Id="rId88" Type="http://schemas.openxmlformats.org/officeDocument/2006/relationships/slide" Target="slides/slide33.xml"/><Relationship Id="rId89" Type="http://schemas.openxmlformats.org/officeDocument/2006/relationships/slide" Target="slides/slide34.xml"/><Relationship Id="rId90" Type="http://schemas.openxmlformats.org/officeDocument/2006/relationships/slide" Target="slides/slide35.xml"/><Relationship Id="rId91" Type="http://schemas.openxmlformats.org/officeDocument/2006/relationships/slide" Target="slides/slide36.xml"/><Relationship Id="rId92" Type="http://schemas.openxmlformats.org/officeDocument/2006/relationships/slide" Target="slides/slide37.xml"/><Relationship Id="rId93" Type="http://schemas.openxmlformats.org/officeDocument/2006/relationships/slide" Target="slides/slide38.xml"/><Relationship Id="rId94" Type="http://schemas.openxmlformats.org/officeDocument/2006/relationships/notesMaster" Target="notesMasters/notesMaster1.xml"/><Relationship Id="rId95" Type="http://schemas.openxmlformats.org/officeDocument/2006/relationships/handoutMaster" Target="handoutMasters/handoutMaster1.xml"/><Relationship Id="rId96" Type="http://schemas.openxmlformats.org/officeDocument/2006/relationships/font" Target="fonts/font1.fntdata"/><Relationship Id="rId97" Type="http://schemas.openxmlformats.org/officeDocument/2006/relationships/font" Target="fonts/font2.fntdata"/><Relationship Id="rId98" Type="http://schemas.openxmlformats.org/officeDocument/2006/relationships/font" Target="fonts/font3.fntdata"/><Relationship Id="rId99" Type="http://schemas.openxmlformats.org/officeDocument/2006/relationships/font" Target="fonts/font4.fntdata"/><Relationship Id="rId100" Type="http://schemas.openxmlformats.org/officeDocument/2006/relationships/font" Target="fonts/font5.fntdata"/><Relationship Id="rId101" Type="http://schemas.openxmlformats.org/officeDocument/2006/relationships/font" Target="fonts/font6.fntdata"/><Relationship Id="rId102" Type="http://schemas.openxmlformats.org/officeDocument/2006/relationships/font" Target="fonts/font7.fntdata"/><Relationship Id="rId103" Type="http://schemas.openxmlformats.org/officeDocument/2006/relationships/font" Target="fonts/font8.fntdata"/><Relationship Id="rId104" Type="http://schemas.openxmlformats.org/officeDocument/2006/relationships/font" Target="fonts/font9.fntdata"/><Relationship Id="rId105" Type="http://schemas.openxmlformats.org/officeDocument/2006/relationships/font" Target="fonts/font10.fntdata"/><Relationship Id="rId106" Type="http://schemas.openxmlformats.org/officeDocument/2006/relationships/font" Target="fonts/font11.fntdata"/><Relationship Id="rId107" Type="http://schemas.openxmlformats.org/officeDocument/2006/relationships/font" Target="fonts/font12.fntdata"/><Relationship Id="rId108" Type="http://schemas.openxmlformats.org/officeDocument/2006/relationships/font" Target="fonts/font13.fntdata"/><Relationship Id="rId109" Type="http://schemas.openxmlformats.org/officeDocument/2006/relationships/font" Target="fonts/font14.fntdata"/><Relationship Id="rId110" Type="http://schemas.openxmlformats.org/officeDocument/2006/relationships/font" Target="fonts/font15.fntdata"/><Relationship Id="rId111" Type="http://schemas.openxmlformats.org/officeDocument/2006/relationships/font" Target="fonts/font16.fntdata"/><Relationship Id="rId112" Type="http://schemas.openxmlformats.org/officeDocument/2006/relationships/font" Target="fonts/font17.fntdata"/><Relationship Id="rId113" Type="http://schemas.openxmlformats.org/officeDocument/2006/relationships/font" Target="fonts/font18.fntdata"/><Relationship Id="rId114" Type="http://schemas.openxmlformats.org/officeDocument/2006/relationships/font" Target="fonts/font19.fntdata"/><Relationship Id="rId115" Type="http://schemas.openxmlformats.org/officeDocument/2006/relationships/font" Target="fonts/font20.fntdata"/><Relationship Id="rId116" Type="http://schemas.openxmlformats.org/officeDocument/2006/relationships/font" Target="fonts/font21.fntdata"/><Relationship Id="rId117" Type="http://schemas.openxmlformats.org/officeDocument/2006/relationships/font" Target="fonts/font22.fntdata"/><Relationship Id="rId118" Type="http://schemas.openxmlformats.org/officeDocument/2006/relationships/font" Target="fonts/font23.fntdata"/><Relationship Id="rId119" Type="http://schemas.openxmlformats.org/officeDocument/2006/relationships/font" Target="fonts/font24.fntdata"/><Relationship Id="rId120" Type="http://schemas.openxmlformats.org/officeDocument/2006/relationships/font" Target="fonts/font25.fntdata"/><Relationship Id="rId121" Type="http://schemas.openxmlformats.org/officeDocument/2006/relationships/font" Target="fonts/font26.fntdata"/><Relationship Id="rId122" Type="http://schemas.openxmlformats.org/officeDocument/2006/relationships/tags" Target="tags/tag1.xml"/><Relationship Id="rId123" Type="http://schemas.openxmlformats.org/officeDocument/2006/relationships/presProps" Target="presProps.xml"/><Relationship Id="rId124" Type="http://schemas.openxmlformats.org/officeDocument/2006/relationships/viewProps" Target="viewProps.xml"/><Relationship Id="rId125" Type="http://schemas.openxmlformats.org/officeDocument/2006/relationships/theme" Target="theme/theme1.xml"/><Relationship Id="rId126" Type="http://schemas.openxmlformats.org/officeDocument/2006/relationships/tableStyles" Target="tableStyles.xml"/><Relationship Id="rId127" Type="http://schemas.microsoft.com/office/2015/10/relationships/revisionInfo" Target="revisionInfo.xml"/><Relationship Id="rId128" Type="http://schemas.microsoft.com/office/2018/10/relationships/authors" Target="authors.xml"/></Relationships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1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0A141-DE1F-0426-79F4-2B4670BDB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330135-B091-AF81-6BAF-2C1626FCB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333A5D-0C70-588D-589D-ACDE34FED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66616-DAC8-98BB-76FF-51965C2DC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53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EBD28-0A7C-9831-AFD0-7C89D9E52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9865A-7B38-E142-E33C-AEAB9E58BB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C2E0D0-8FAF-7B99-AA8D-D99C1F0387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71732-28E8-13C2-7A91-01330C5577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05904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AFC084-CBE1-88B5-0CD7-95F0D24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8B69D7-13F2-195C-BDF6-6634B891D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F7E761-E553-691E-5518-7EB8B1D8A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4384CE-5CD7-B0E2-A9AF-09903DB54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272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3CF64D-0122-D92B-5E4C-BAF350572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317FB7-4A9C-A289-AEB1-74F5E40B9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545D6-CD63-EF70-D612-771AFB3524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19C5B-7E66-2C1E-C605-F6EB8F856A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588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6FB6F-D5C1-12F0-242B-E138C3D66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117068-4538-9F21-C526-7CEE4D2AC9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002654-56F0-72D8-4CF2-5015ED1379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17386-2886-49DB-2210-0763B4FCD3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1117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778D1-3532-E5C3-CCAD-74AFC8B79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DE3197-0F33-3865-7DE6-FCF3AA428F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EA533E-CA1A-DAA9-DD74-8E4692A14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63BED-5EFC-EA81-2C74-DD8862EE87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54047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E8A5D-0483-0E0E-262A-9A2A7F6DE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688F5D-1A5A-CC57-C4D3-A543AEF539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ACDB35-7F24-9E83-05BC-CF744B63E6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ECF87-888E-2A35-D5B8-4F55442A32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1988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C5C52-69E0-2914-93DD-F9CFFFFA7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6AC427-1FCA-41BC-A6BE-BDAFFD5754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E6569-D766-3E25-32C5-02DFC3AB5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68CCA-A308-1248-B12C-CE56BD12E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615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12D3F-B740-7330-919C-124A09585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5266FC-A498-E3DD-1CDD-6A6E17706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33761-7748-36FC-0640-24261C8B0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57714-54BE-13F5-9C31-BAA1DB3292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167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6FCB1-3BC6-6F93-765D-94F8FFDC3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1A3EBB-FB41-7293-CA4C-82DC6364C0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087D50-E423-3250-D25E-DB61A5948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5B966-3E97-A0D4-E7A1-51FE297FD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61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AB908-FC2F-2C50-04D9-3309E51F6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704650-8339-C52A-E621-8DB7993D1E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2D0A0-2590-2764-E505-7F25724087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48F9B-6EAE-1322-EF92-138873285F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788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5DDE48-240F-A887-DDDF-F9E80B8D2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BC7421-C3CF-92F5-E8BE-3C2C3548F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43A8A8-82F5-CB66-9614-6812A6BE6E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EAC4E-4F02-4926-07B5-49DCE5C235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158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267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268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269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270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4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271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5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272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6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273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7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27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275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9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276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0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277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tags" Target="../tags/tag278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tags" Target="../tags/tag279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tags" Target="../tags/tag280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4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tags" Target="../tags/tag281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5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tags" Target="../tags/tag282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6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tags" Target="../tags/tag283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7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tags" Target="../tags/tag28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tags" Target="../tags/tag285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29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tags" Target="../tags/tag286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0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tags" Target="../tags/tag287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tags" Target="../tags/tag288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tags" Target="../tags/tag289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tags" Target="../tags/tag290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4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tags" Target="../tags/tag291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5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tags" Target="../tags/tag292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6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tags" Target="../tags/tag293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7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tags" Target="../tags/tag29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3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5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7406"/>
            <a:ext cx="3644029" cy="131267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234 - 180 SMC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AL-OIA-4410 – Opportunity Influence Attribution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8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8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AL-ACC-1207 – Account Prioritization Scoring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1319687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122854"/>
              </p:ext>
            </p:extLst>
          </p:nvPr>
        </p:nvGraphicFramePr>
        <p:xfrm>
          <a:off x="4440142" y="4350331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133759"/>
              </p:ext>
            </p:extLst>
          </p:nvPr>
        </p:nvGraphicFramePr>
        <p:xfrm>
          <a:off x="503238" y="5799400"/>
          <a:ext cx="3608359" cy="1021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MP-CPM-3301 – Unified Consent &amp; Preference Center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03389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746357"/>
              </p:ext>
            </p:extLst>
          </p:nvPr>
        </p:nvGraphicFramePr>
        <p:xfrm>
          <a:off x="8148439" y="5853913"/>
          <a:ext cx="3661179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553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545988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2883799"/>
              </p:ext>
            </p:extLst>
          </p:nvPr>
        </p:nvGraphicFramePr>
        <p:xfrm>
          <a:off x="4958031" y="3151698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834285" y="3052604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534557" y="30680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948967" y="493384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381279"/>
              </p:ext>
            </p:extLst>
          </p:nvPr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Account-Based Engagement Scoring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NEUER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.1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r>
                        <a:rPr lang="en-US" sz="700" dirty="0"/>
                        <a:t/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  <p:sp>
        <p:nvSpPr>
          <p:cNvPr id="17" name="Rectangle 1">
            <a:extLst>
              <a:ext uri="{FF2B5EF4-FFF2-40B4-BE49-F238E27FC236}">
                <a16:creationId xmlns:a16="http://schemas.microsoft.com/office/drawing/2014/main" id="{FEA55ED6-3402-6810-134A-69E86C40BAF1}"/>
              </a:ext>
            </a:extLst>
          </p:cNvPr>
          <p:cNvSpPr/>
          <p:nvPr/>
        </p:nvSpPr>
        <p:spPr bwMode="gray">
          <a:xfrm>
            <a:off x="4610082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46">
            <a:extLst>
              <a:ext uri="{FF2B5EF4-FFF2-40B4-BE49-F238E27FC236}">
                <a16:creationId xmlns:a16="http://schemas.microsoft.com/office/drawing/2014/main" id="{77BEE5A1-7879-368A-E44D-265ABAAA9A58}"/>
              </a:ext>
            </a:extLst>
          </p:cNvPr>
          <p:cNvSpPr/>
          <p:nvPr/>
        </p:nvSpPr>
        <p:spPr bwMode="gray">
          <a:xfrm>
            <a:off x="4367786" y="5448626"/>
            <a:ext cx="3633694" cy="133145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26" name="BOX_COMPLIANCE">
            <a:extLst>
              <a:ext uri="{FF2B5EF4-FFF2-40B4-BE49-F238E27FC236}">
                <a16:creationId xmlns:a16="http://schemas.microsoft.com/office/drawing/2014/main" id="{0B39065D-FAA3-FFEE-4BFD-AB364B899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370323"/>
              </p:ext>
            </p:extLst>
          </p:nvPr>
        </p:nvGraphicFramePr>
        <p:xfrm>
          <a:off x="4347214" y="5799400"/>
          <a:ext cx="3608359" cy="7137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129954"/>
                  </a:ext>
                </a:extLst>
              </a:tr>
            </a:tbl>
          </a:graphicData>
        </a:graphic>
      </p:graphicFrame>
      <p:sp>
        <p:nvSpPr>
          <p:cNvPr id="27" name="TextBox 42">
            <a:extLst>
              <a:ext uri="{FF2B5EF4-FFF2-40B4-BE49-F238E27FC236}">
                <a16:creationId xmlns:a16="http://schemas.microsoft.com/office/drawing/2014/main" id="{5CFB71AB-99A2-22E7-E785-F138FF4E1E65}"/>
              </a:ext>
            </a:extLst>
          </p:cNvPr>
          <p:cNvSpPr txBox="1"/>
          <p:nvPr/>
        </p:nvSpPr>
        <p:spPr>
          <a:xfrm>
            <a:off x="6947559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29" name="Rectangle 47">
            <a:extLst>
              <a:ext uri="{FF2B5EF4-FFF2-40B4-BE49-F238E27FC236}">
                <a16:creationId xmlns:a16="http://schemas.microsoft.com/office/drawing/2014/main" id="{98BDB2C9-6D8E-D4CD-DA12-4DC9BB4C9093}"/>
              </a:ext>
            </a:extLst>
          </p:cNvPr>
          <p:cNvSpPr>
            <a:spLocks/>
          </p:cNvSpPr>
          <p:nvPr/>
        </p:nvSpPr>
        <p:spPr bwMode="gray">
          <a:xfrm>
            <a:off x="4794582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 dirty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IN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b="0" sz="1100">
                <a:solidFill>
                  <a:srgbClr val="000000"/>
                </a:solidFill>
              </a:rPr>
              <a:t>All CDP Foundational Use Cases are on track and will enable business adoption.</a:t>
            </a:r>
            <a:r>
              <a:rPr sz="700"/>
              <a:t>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Account-Based Engagement Scoring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Lack of consistent engagement scoring across channels leads to inefficient ABM priorit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Target Accounts in EMEA, Personas: CIO, CMO
Valu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Increase engagement relevance and prioritization of target accounts. KPI: +20% engagement score, +15% CTR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Julia Weber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 Ops, Digital Campaig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BM Managers, Campaign Lead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NEUERTEST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OWNER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sa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2C3EF8A-72D7-55EA-D2DA-368C36C71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SP-2234 - 180 SMC PoC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Currently, CRM is the primary source for managing contac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Transition EDP
Phase 1 : Sync EDP and Outreach 
Solution Contacts​
Key Contacts​
Phase 2 : Expand EDP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​
Single Source of Truth
Scalable Foundation
KPI to be measured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Carol Marchesy, Nitin Singil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uzanne McFad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617A2D0-30DF-FCA2-15C5-B738948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SAL-OIA-4410 – Opportunity Influence Attribution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Lack of transparency on marketing influence on pipelin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trategic Accounts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Improve forecast accuracy and marketing-sales alignment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Daniel Rot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Revenue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59517EA-2EB5-0E7B-DF9F-36C216CB8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SAL-PLQ-2098 – Predictive Lead Qualification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nual lead qualification is inconsistent and not scalab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EMEA Mid-Market Accounts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ncrease SQL conversion rate by X%, reduce manual qualification effort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, Am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Markus Klein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DRs, Account Executiv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FAD8A73-890E-B20F-1578-43835FEC1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SAL-ACC-1207 – Account Prioritization Scoring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 teams lack data-driven prioritization of accou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trategic and Named Accounts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Increase focus on high-potential accounts, KPI: higher win rate on prioritiz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, C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Stefan Müller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Sales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Account Executiv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Sale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09579CF-CC34-8C7C-089B-C4EC78EF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CMP-CPM-3301 – Unified Consent &amp; Preference Center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Fragmented consent storage creates compliance risk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Global contacts, GDPR &amp; CBDT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Ensure regulatory compliance and transparent consent management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Compliance, 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Sophie Lang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ata Privacy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Legal, Marketing Op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Compliance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4E84C797-52EB-41FA-53A9-C852DBEF5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Net New Account Qualification &amp; Conversion Processes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This is the ps for test purpos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This is the scope for test purposes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This is the v&amp;kpi for test purpose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ID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Krishn Kumala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Peter Zwega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Customer Succes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122A156-7DFF-66F5-FDB5-599643E32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CS-USE-1402 – Product Usage Analytics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Limited visibility into actual product usag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Cloud customers EMEA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Early identification of adoption risks and upsell potential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CS, 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Miriam Vogt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Customer Success Manag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CS Op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Customer Success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42429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Account-Based Engagement Scoring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Julia Weber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Behavioral events mapped, engagement model validated, pilot runn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NEUERTEST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OWNER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11111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1.1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1.1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80</a:t>
                      </a:r>
                      <a:endParaRPr kumimoji="0"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6710ACA-34AF-1DF7-B1DE-FFE70C18B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F2F689-682A-D883-3C62-531B41F21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DF24972F-AB54-C3DE-F1C1-F768A291B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6F3B783-4A5B-88AF-D6E1-B9A5F3094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44D85FE-1356-1659-6461-0DF347A51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95D110D-9465-7172-24AD-8B04C394F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FB880D7-F706-BE39-BF86-4F553873C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0314A4C-A7BC-3DAC-92A7-189C1D90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9EFCCD0-3A33-5334-F18F-04869905F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F1DE9-335E-2EE5-D230-3DB09BECF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F4A6564-3903-83F8-CF5C-7B5738C1D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F4A6564-3903-83F8-CF5C-7B5738C1D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840AC9-2D35-4E4A-3FBE-CA1B61E5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C077B2-D7BF-36AA-4834-7F509774A27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75FAA0-E5ED-C955-0B96-8CF22E73B24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C712D0-3D61-D30F-2A2E-FEECA65C135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B7433D-BFBF-E654-17BD-9614A7E6C18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03636-0584-1FA9-8918-D7C262A78D2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721892-3981-90D7-1A0F-DED0201F82E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F1CD7B-1D96-DF0D-0EF6-FA98E20B937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875514-24F7-F685-45E0-F10976713D3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02616C-CC09-89F0-A82C-A05D7C5DBD9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119603-0B52-2A0A-9E74-29B06129BA5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BDB85C-D508-7AFD-57F6-845BEE2F87A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5B4D58-934C-231A-A254-CD99D15F968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97A224-39E2-8044-43ED-4F0B86666DBE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D54F3DA-2A21-8006-9B9C-82E239C02940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2607EA1-D210-4E66-B2CC-C305D26EEC0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082220-C616-7179-1173-C353486DD152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339D13-1776-0E3C-3673-E4F18DE7B9BA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2516F1-E60D-AE52-073D-6282563DA42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29785D3-2CF4-8B51-7AA9-25AB6D9ED3F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904AAD4-F4FB-FF93-187E-1F8BC947D21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983D22E-792E-0791-F0F5-25B93E67208E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75D487F-300E-0E8C-2C92-EEABE52E9A5F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6A89D8-DFCE-2162-FCC5-71CEF0F2D1C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4C0DA14-8ADF-632D-CC52-3C7F4EC7BE0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2333A8F-6EDD-C4E7-5737-D66F55CE3FB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A9B0B12-3C7B-157C-5002-1E244872FD7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8FA914EB-AEDA-87B5-65AA-AF9965EF07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9ADBBCD-3BE2-BFEA-1D16-8D0AAE849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D4923CA-25F9-EA03-702B-7FF2B527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58F933C-417B-AB26-AC6F-150889517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80C0B14-C157-7C7A-3896-23B89F5AD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C1F6D15-FE7C-7E58-A567-F6547FD17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2F6AB6E-DB43-CBA8-D377-88B186FFB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59187EF-79D3-8DAF-E481-7B04D709F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09F1068-DAE8-7AE7-C4CD-CDCDF2AF9ED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4405F-5A55-F8F0-ACB1-4D91B5796FB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A43F6-5684-6D98-3F2B-50CBB55BB6A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6C3C8-CE90-664C-8B08-69ECBB186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F9F72C-E1C5-C830-EE1C-B8D153646E6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4E4599-1321-753B-13E9-6506A410547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E12863D-7D97-E8C6-0FBD-DF6218ED30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7835CEF-D94D-79D9-1F0E-DC9B74153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4AC94C8-3B40-A3B9-62FD-EA9760168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E281B63-EBC5-3D6B-DF64-B3CE92C95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C9EEBBD-D904-2ACC-1235-360F18840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648AF67-4C7D-4AC2-7830-7370F191D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6C0C7C11-142A-CF31-D08E-C9499E324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4F43C8-1134-876A-9747-7E7853F9C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86A7C11-E6B0-4097-72DC-597B6E9B0C8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9054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CDC286-2443-05A2-C361-F93A0F4D3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114010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22F19-164E-F18B-683A-02CFC449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90DEB6-6F85-33D0-A8CC-167C77037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90DEB6-6F85-33D0-A8CC-167C77037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D155A1-694F-C8B7-87FB-813CF62ED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ED105F-1117-DBA1-D2EF-68C7DCD9635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50BCD9-76CF-4EBA-A8D9-2597148A8F6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CBAC8A-3644-9531-CD7C-A699B4DBCDC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C061CF-BDE6-B080-3096-2FCB4E554FB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F252E8-641A-1C28-5F43-0619E20A8B5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A8B0A3-C33D-A252-4884-B5D5FA25544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D9F42-00E8-1FEB-8E29-2598EEC62DE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32CEAB-FF23-C71B-5450-3406C5F8F90A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824AEF-1785-F4FC-73D7-DF21C74E8541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671D443-1A37-2F77-0BAF-0410DFC18C4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182907-9797-3B28-C0FC-D4AC3B2666B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6B953D-62B6-396E-2415-C92ECD667CAD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881F219-6211-C514-E255-1C9B4D72200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0EE243-24C8-1E97-272B-0219B5C44A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873FEF9-0F78-C7F6-156A-D63ACC55D7D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BFFE06-A228-827A-0C2F-6863DE4D894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55669E-6235-79F9-7B33-F8A74DE5273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8F8A3B-5655-572A-1CB5-4AEA6BB08AF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473620-107C-DA20-C07F-477CA2F154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AE24FE2-3F52-15F1-D6E3-A8DA4DA08DB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4A3C1CC-EB24-0611-FAA2-85BE8180405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9D4B4F3-FBAE-0EC5-16DE-F2A15B975D4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738451-B61E-E7DF-7945-A71B9C72398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A0693D-A9EE-3D60-6493-A7718FCB355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EF1F41-B6D7-A212-CF34-35C5A3ADD0A4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506940-9F39-98EA-539F-E4137E2CBFC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B0A4AD7-16C1-1D17-8608-EF09E0BFFF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6BFCC85-F39B-9E14-CFE2-36985AF3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7FBB73-E68C-7366-789C-0488643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7D11A39-6C72-222C-1192-7E736DD13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441311C-DD2E-A9C7-6330-0A66B1C6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CB32047-7D94-A7ED-973D-60054A59A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BED567DB-92C6-40E1-03E1-08A4F43C0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2B2E199-4C3F-48AC-9EA5-C2B2EA4DC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E3C8292-3A26-5F8F-51DC-17D2CDA5CD8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7E0824-054D-A8DA-4669-C3B7C35F0D37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E362CD-51B0-FE60-A801-549A6B83C1A4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67FCE9-D32A-3C3C-F064-662B7143AF2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4E729D-8C80-5B20-F110-D8BBA092B11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A46B20-D2B3-6E7D-3515-68C09429CFC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BDB96E5-1E69-BDC1-A5C7-77387460C9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CD8ADFA-182C-5B4E-EBAD-43A8A2EF3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BCA8C36-1F69-D95A-2AC2-051311812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BCE5B29-E9FA-E2EC-C803-3AFFABF66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ECBCDF2-FEC8-90D6-4050-8D7882860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99A8EE-DB83-941B-03AA-325EED19D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E76FD92-6A9D-2BE5-EC38-4311DF0E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507C722A-7946-ABAC-252C-6662A6B27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83C052-D73B-127F-80F2-AB4E1340498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07820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FA96E-EB1D-9D39-CC77-A87C502F3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7E3F230-86BD-1955-0F29-7FC350BCC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7E3F230-86BD-1955-0F29-7FC350BCC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DFC0CD-FCF3-FBAE-F076-009AE364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8F159-6E5C-4028-F481-9EA67855AC4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00A584-9762-FF32-8C99-16F5FB71455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05AA51-FFA9-BA83-7E9D-80B493932C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2A5156-5319-7CC8-441B-E2F65367E7A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93CF8D-EB0C-C7DB-4016-243F3248180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4CC387-6B50-030A-B5A1-01A13DC48D3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5D43BB-E3A4-BECA-9D81-05B2D096540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788386-0941-DCF0-ADC9-FCFF5C3BB96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7C750A-045E-C2A8-17B1-5E773271AB8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EF85B8-579A-8FB1-0B33-601F14B4E52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798D92-ABDB-2BAC-60B3-11CF1300708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09E0D2-EDC8-313A-6533-59007E837BC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56D68E-0D2C-9B84-E245-D7B650DD1B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E69D80C-1B87-117A-3DF5-23BE9C2A140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D3E313-4D4D-3084-5D6A-645816B3986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6FB0BC0-C5EE-3E5A-E226-1C7B56CEC0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02DE65-7421-D92D-E1DC-9777DD77E67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94ADE5-B81D-BB89-3141-85909BA7DE4B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742F4F39-6242-FB46-CADA-CDB0F4A58B0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650B836-BB44-F84B-7EEA-B1C31E313D8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2BA55FD8-9265-CAE6-DC17-56BB7656367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9655CE7-FA8A-7BDD-25CB-C3B6D23928D6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66AB76F8-E903-C30C-8364-102D28FA04A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611D002-E5E9-D615-77C4-FC0A0AC26BE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B875A98-711B-BFF7-08F4-C43D2D304F75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C618AE-5079-77F9-49B9-58943C8F287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DF5F823-2242-FAAD-0633-593155AC54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1763647-6A4B-5B5D-A887-26C362776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F9B65E1-499C-6D1C-3273-3A90DD70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B235BB8-F227-ABD1-559B-E5331399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1B9B888-794F-4475-F2E1-05FB0A5A3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82C1FCC-0502-1DF8-A8EC-B3FB5F701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BA0E2D4-E23A-A52A-7434-9D3C846B3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B33A0DF-3397-CD63-8F72-717DE0854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DE8BE-F672-A86A-B06B-DAEA4EB1B0F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6BE138-E20E-9702-D312-07F7B559B4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51373D-D44B-C9CA-A36F-9C1436EA6DC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B7D45-85E8-3A5A-3CBC-200154DEE9D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4D4A69-5C03-2EEE-5CEF-D16C625D0BC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7B09DB-210E-4AC7-31A5-FF00609D563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9DCADDCD-2612-3822-EB7B-34FAEF576F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283528B-4AD1-BC69-5E67-FC6E3E51C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B79928FB-FF92-2F9B-DEDE-EBF408B1F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BED4B61-8962-58A3-182F-4E939A5BE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71562A3-CEEA-4020-7740-61A9AA8D8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8F4070F-D8A1-754E-2C77-4BE3C6DB3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7B5E7E-2F90-93B3-C3BC-254B14EF8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FD2F2F8-47C3-4C16-658C-B45595A6A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DC83E08-EF36-67A4-7C15-85D85F7200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3482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438F0-AFFF-21DD-828F-42041B85A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5C6C8A86-A848-8274-4A5B-E01F85008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5C6C8A86-A848-8274-4A5B-E01F8500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361141-683B-3765-571A-DC26A0DDF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3B7A43-A7B6-EB9A-8EDB-9A9ABC4AE91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633674-CA10-59AA-3411-B3E30EDC705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BE8B23-3593-F4BD-7746-1C423BDED18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D9776E-F9C5-6A57-F967-128112D9FEE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4113A0-7EA3-025E-50B4-F7FCD8B48A01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E4EBD3-AF2A-A0AF-E82A-5523C8AD4FE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37E3CB-D020-0F16-AB4D-4994D43CD40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97EE62-8836-8F9B-18CC-CE60D7E79BC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293120-7B2B-5690-251B-89672D234EE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98EB434-3516-E4BF-608D-D795685C99E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0723E74-9935-EAC7-BA04-5254BE4ADE8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E7F82F-B21C-BE10-3D57-CE5178FA2C6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546FF4-8268-45E2-E843-407FA056090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643F717-6727-454F-F4E8-026D292DC3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8988F8-A5D2-F97F-307D-8B23D627767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36D98B-5F98-D490-BD1E-69E6AAF5FA14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8D18D8-8E58-9372-4903-11E28BB4E3EC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0C7B39-66A5-1F31-2B44-545A18192D6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F33DC1F-E1CD-8B8E-D010-F7A6443A900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21ED7278-23E2-7352-8674-4F77F64E2728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8328C581-34D4-4735-DBF7-DC855361CF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95399DD-72B9-703F-7960-39614A2C5173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769C6B1-81DA-B337-DA7B-BCCCBCDFA6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A603A33-9D4D-E46E-AC77-BE03105F803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43A0EB-0248-AF13-9AD6-ED5304A68B7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DB8CE7E-208A-7C66-BC61-F9E5F4D486A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C99460-7DF1-9F17-000D-463975F644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D01E5F-24CB-6AD6-1ABC-5F8B4BAB0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15C4AF7C-45F3-8831-E3AC-B883F6A76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6D13D90-021F-EE59-327E-D81176F2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4199415-F044-B58F-8D28-32CD54EC1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0F6DB5-4631-3FD9-7D34-FECE5F7A0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CE56E138-95C4-9D53-FEF5-DC887032D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AEC4161-011D-C845-AE03-5EF146A77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53B9B1-55D1-CA54-BCD7-307FD887D69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A7FB6-D062-7FF4-D2A4-C1EA3E8BBCC4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95EAC0-DECE-E846-EF00-C57BE7BD6EF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60393-5646-D8C3-C0A1-9D385E8E938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AABD0B-50C3-FC78-7023-B967D8E04D6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ABCE32-CE0E-EEB6-F230-9507B66164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321E1D4-CCF8-75D1-F4E4-40278BFC36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058A831-325C-58B2-1AB3-97D3F624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5A57D72-5842-A3C3-6A79-A3461D30D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F6DC540-5B6A-C4F5-C35B-1600A02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FE840654-83A2-E339-AE25-6F1DA8927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E002AFE-6F1A-2760-B969-37A2A433E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D206199-C2A3-2DD1-0A70-D91276C74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2940D-1570-F97D-D1B7-5CA142C36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A874FAD-13B3-EAE6-DCDB-32C16D1EC80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22015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0D554-5079-A7BE-4D72-CCBFDCD9E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B7C2C9-2B09-71BF-2587-11C7E2D98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B7C2C9-2B09-71BF-2587-11C7E2D9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1DD3FB-88A4-133B-9605-3E87D43FB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F315AB-5910-F683-934D-255A73D09A06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A06126-D4D0-30A6-D5B2-29FB6269B28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8C7025-51C1-88F8-6387-9C82BE064D5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4ECABC-E925-67A3-5572-7035DF047531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A8E0B-AF72-27F7-1B3E-25D8ABA9424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65FE32-E84E-06B6-2CF2-4ED728E8FC3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573C5D-5194-C5B5-0569-6F36AD5282A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55FB86-9F9D-B68A-A308-A7FDE20F027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B37432-8797-C186-193D-7A66FE1152F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58ED7AF-636F-38D8-35CE-DBFED93F8AC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BC3990-856B-E0AC-2279-56B9AB64F2ED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3D8D7E-EA8B-7CE6-209B-729ECA3A9B1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C1D355-BF2D-6488-0CE7-EDD480F5BF6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4E40A-032B-2859-3C2B-68830F71B5D4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7CE148-A968-A86C-2BE3-6134D931D8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B1D9D34-4455-14F0-4185-A60B6E44BF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0301149-B9CA-A2BA-4A2F-7E9FDF3FFB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188157-CE2F-715D-481B-63FB800B6A8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8FFEAFC-2385-A77C-DB1D-91815A0A77A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767C46-723C-8282-6BB1-D57EBE47ABD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DB33C79-FEDB-398E-839A-D31B701D6CB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816BE4A-0D0E-5CDB-CBE6-8491FEB52C2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A16E5BE-DB1E-764B-78C9-18F46D1D142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081FE9C-355E-ADBD-C8C6-8FFD9804358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5373FE-77C0-331D-31BC-DA08BCAB3E0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9E60C3-49EA-11D9-EBAA-070AE96FC6A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AD99C6A-0C2A-E97E-588E-E8A05EF0B9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DE8673A4-2D66-2055-C52E-0389C6E455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7A45FF-38FD-5E1A-8D2D-740E3378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771B7424-4AFB-3A87-5326-CBAE04E36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DF55AE6-007E-036B-2980-E720E34D13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62A0B1C-2AAC-AC92-42E6-80BACC24C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871D5CC-D90A-FBDA-8405-A2E2B1D85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8AC89814-FCFA-F271-0B70-782DA9BBA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B2351E-784D-86C3-E1AE-BB3B22E7F27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446223-6BD9-201F-4D1B-CD1F3C7CF04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0848C1-4DCA-5132-9FCB-F7514CA08F22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B1F93-597D-62D5-F53E-E9A2534B860C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4B0827-933A-183E-BF0C-3AE46277E72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9A86F5-52C9-DC96-36DE-C228C5D00E3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29F108A-1AA8-F237-23D1-9F782A816B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8E98362-FBF5-DDC3-51B7-68F924B4DE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CFDF6E8-5525-42EF-FEE7-FC173CBF9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70673E1-E850-F9C5-3AC7-3E6D6316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313AAB2-1B5D-5CE5-414F-9DA021522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3ABB696C-FDE2-872B-6184-3A2A48C35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56B7BE2C-13CE-6781-4EA3-34A31260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C22CAEE-DB33-4FDE-32D0-667330FA5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BCF2FD8-CDD1-854D-ADD0-84B834FF1A3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15592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821DF-B5D5-5EBB-AD03-B36018936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E1A82CE-46EE-6577-FC4C-C666A6FA7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E1A82CE-46EE-6577-FC4C-C666A6FA7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1362C-2A9C-4A66-4689-F9971452D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D6806-135E-D456-7D1A-5BFF64B33A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A2FA9F-0189-5703-6E27-B3E853B7246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4862F7-B327-C27D-6D2B-E5701B209F2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403965-85F5-5472-F139-129B6A618FE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4E034D-F1B2-5DE9-6057-30C591B1EB4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76012C-BBD4-60FD-4940-77C18A2D1A5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C7EEE1-168C-B222-DD30-7447ACD0B0A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9E5F1C-8A0B-291F-91B3-27634F90CF7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C7F3D2-D105-2650-B8E7-A75549986E3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94EF7C-F089-51AE-C2CF-393609FBF88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9BF4B9-0EB8-C06A-43D1-1DE26AE7968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84C92-455D-D276-25CD-385D600F231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28B72D-822A-DC40-1860-F2031AA45EA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9C3AD8-A401-B9DE-0C95-8ACB499A35D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F37723-4F17-6240-F051-3E47C0A066B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714654-C7AE-1860-642F-744EEBBBC7A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B9A417-475F-0C79-AE7E-705A68FB8DC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239553C-7BAE-FC8E-165F-18919F496FF6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E5E7EDB-96AE-D60E-51C2-EF1530FA062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50E922C7-85C2-C8D0-6996-A2027C867BB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1BDA1EB-5FD3-D725-9071-16090B1CA4B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B5C050-B311-5C4B-676E-330B430BE9D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0BDEC78-981B-06DC-1638-2634117A92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C1B0014-CE40-0877-6E65-E65BC6BDAE1B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01D260A-33F6-938D-456D-EEF5C6218F0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5379D-A0CB-23A0-4BA1-8A7825E8105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877C34-7E33-4255-E464-503C35A9F9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CE2562CC-11B0-0F56-E7A5-863F779D9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BC6EC0-D8E2-6373-8B99-FF1672DF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7D4B19-D05B-F287-52D2-5E2D9E7BA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7F186CCC-EC70-0089-C73E-2158C8A4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58AAB9B-11FC-89A4-F04B-43111B2F4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3EC3F085-0923-61B6-5674-39DAE28E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B152A331-74D8-99FE-AF01-461BE4DF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5DC789-377D-1AD3-3ABC-826D5F1C3E3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48D9BF-8F61-5106-F6CD-4FF8696F8D6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14BC13-0FF0-D453-53BC-3173F739C08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450D8-F7D4-8FB0-354A-5693D55C158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D8CFE2-2E37-E884-C674-FBEF044C5B9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BF9C7D-BD1C-F27C-91E2-3594D531222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8E16855-6BD6-FBD1-0273-BD878E8F03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8842676-D054-EF2B-36F4-F714117FA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3BAB32A-1B57-5EDB-B5B5-7A49B25FD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981CFC6-50F8-1C3D-1833-B51FD0586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F98DBBA-21B9-B82A-E1F3-D36D6220F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93EA41C-C6AB-CF76-BB85-E2D9C8F0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57F116F-3CFC-BFE4-8609-43591D162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BCB6F12-15F1-6F0A-23D8-1009E2708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877F07D-5356-F0FE-73AC-0FB6FDFDD53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1029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1F094-4CDF-C074-6690-A722B4141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DDD9DFF-D672-2343-90DE-6FF71ABC5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DDD9DFF-D672-2343-90DE-6FF71ABC5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3158B0-6EAB-E258-EE3E-0F3464AD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1082F5-7026-A1FD-FBF8-22EE667F999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E3D05B-F42B-DA8E-E41C-AC8DD7EFCAE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614EB-0882-3B24-D41D-7DB72AEDA77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3A96D0-709F-B219-AA80-915106CBBDF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53399-1CE3-7821-AFBD-0D408ED53B5B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18EE42-711D-ECA7-0170-903A156AB13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3A96E6-41E1-520A-7694-88D1D70CEBA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881373-2AF9-5A6D-41A6-6C4A26133BA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FEC9A1-A8EE-05FB-7F59-EFC3EFB66EA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825DB1-4213-1E87-7348-A80D17121D9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A20295-A10F-6107-E668-EE84C8AC724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A2CE83-86F5-7C9D-8B84-3C2AB60E490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C651E2-54A0-1845-8A87-4B1EC0CC45A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988AE5-5A0C-ED32-684C-FF00D5BB0D8A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2A45F7-EDFE-D837-826C-4D2B91DD91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723A47-7BAA-D054-8903-A8D547A16777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FCC815-6955-2D9A-5BA8-0DEDCEEC5399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62D425-EBAF-33C5-2AEB-82D28AD52DD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2A9B02E-EF8B-EC0A-614D-93FAE413509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015129-FA6B-3B3B-A944-14714722E6B4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740B7E22-54A5-E68D-6DEB-847B08FB65B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A9CC27A-6D74-BCA6-E6B8-281F5BFA68D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B9AE71-F9FC-BDDF-546B-63D5582759B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E094350-25BB-B30A-AC36-AE1F1405C4D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93C3DE-23AE-5E0C-87DC-9087D7B053A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D6E8F9-8B1A-40BB-4B74-2358C251F50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7AE7DD9-C7F9-2BA4-AE35-B8E7A511C1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3863AFE7-2559-C8A0-7175-69746BEB79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58C4E65-3453-8F42-D792-3E9002DB9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9CAFA44-1C93-212E-5E61-73BCD3F44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3150DC7-9E43-0611-CD53-7D3603444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166012-6540-C22D-8CA1-392CF907F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ECCF15F-DC85-CC14-8D75-9E69256E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B5935AE-E843-5E3C-AB66-CCBCFD1D6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FD44D59-7B82-83C6-16DF-8B505E81A9E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F20716-AB14-E938-29C6-2DB25DA9FD52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9C1D58-EE6C-A549-2653-10D8713C569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9EE75A-EC1B-EF5A-B694-3A6C46312F6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17225C-03B0-A5CC-62C2-CF496D07C40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BFA2D-74ED-7FB2-E848-833FD7AD453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B9CA769-E25A-D7E2-EE5F-92C34156C4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67D426D-6969-CD5C-128E-B9BA25345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BF5DFC4-A3DF-4941-C920-250246E0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BDF1917-5922-A2B2-DACE-7DC8D2B17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EC4FEC96-3360-10E5-F86A-8B0B2F74D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3C707ED-3464-C5D7-E630-249B757F1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94B917-1F51-B6F5-3E81-DF65F540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53D9BB-7448-8AB7-B0C3-76D7D8B6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5D554AC-4781-4287-412D-DAAE4573C20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558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C3E9C-F0EE-AF49-885C-11150DA19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32C8D3E-4AE5-B107-B30E-A3B21211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32C8D3E-4AE5-B107-B30E-A3B21211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3576D2-B46C-D799-4BAC-9A910F06D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D0EF85-1833-A2F7-5747-B13C5E16370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5BBFC-D4E5-2BDC-9001-60CF6434E51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47ECE7-E354-1855-6434-15F31F62ABA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CE6DA-51C0-00C9-6A11-8040DBA193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E397CA-4E98-6B92-CBF0-D822C1B3595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976413-0B15-B241-5AC1-AFD5E9236AF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EB68B0-3FF3-7499-C83B-47DA16BC19A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B54100-5C2A-6C59-D694-4E37635A5B5C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EE8152-3679-D69F-600E-7C4FA53A533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7B4AD1-3E0A-EEBE-FC3F-B594F9D05E18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573320-6E20-5663-430D-25D29EEBB1A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E1E9A7F-5B3D-FBBD-FF25-22D3097B653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A41CFA-B0F8-86B7-43E6-597D3E5DDDD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0BFD6B3-3394-DA0E-101D-F2E77B70485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BEAAE-1A35-13B3-4C28-ED94EEAADAF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EC0439-8215-52CB-3244-C99DED06CE8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7D3ADF-77EB-B253-D510-9370466F0CD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5312FB-D54C-A30B-00F4-FE0CF94DA21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EE9566-E783-2CD0-D8CF-F099240C714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8490B99-2454-E3AD-013E-FAFF82BBFB9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2982E4-BC78-EA29-AF29-16098AEC883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B57E795-5A9D-CEEB-96AB-119BCA05616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004E0DE-84CA-A4C4-8AD8-6B5B8DDED6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7FC4CC7-6B8E-64B5-9009-30ED541251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6D5CE9A-AA36-4593-465C-2002126A23F3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DBBEB6-1FB0-B701-58D9-D6F6CE5CDE8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479628A-0492-D027-AAFD-93C797FD99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5775480-DE99-5D7A-40C9-9F8891355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C148988-A996-9FE7-0BBC-86D350063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F10FC5-65E3-A665-0D22-29C5C9F10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8098DB7-5A84-F205-EFF2-086A5E836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5713E3-4823-607D-BF67-DA16FFF8C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9D8504D-08F1-7A6F-F6BF-55945443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85C2165-BB65-7879-2A40-88BD2D04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EAFCE0-30B4-5E88-2FB5-DF9FC487821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19C801-2143-3C18-C015-93396D2EB8F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8350BF-C9C4-7F47-5888-B101F389393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088EA2-EE26-AEB8-EBDC-A868B6530A23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7A1844-DAAC-E78B-902C-B91F9626456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10F407-BAE2-1D06-A8E0-83119D44A23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D2904FA-0F9B-1DF0-F795-07B1334C44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A423296-AEB6-AA06-2AE5-4C119E29D3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7C6CAC5-EAB3-C757-07FB-A8708FA2F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E2B91-1C44-4145-77C2-71AA8E5A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578B1B4-0842-A5B5-A771-2DE3DA4D3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7B0A1C9-B1E2-A9CD-BCA7-E8AD7BB45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378506-D6CB-7286-200F-61D45CA87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C0C35B-E0F5-68FC-0C5F-66B41E057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75BEC1-6010-97DE-721F-936EFDFFDC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47771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648A0-84F7-1C93-9130-CBBB521A2B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6DDF57E-D767-4604-5B4F-98B7602E6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6DDF57E-D767-4604-5B4F-98B7602E6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80EED-59B8-793D-EB69-E0946A1F5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4EAC6-333D-42D6-FDD3-76BD1C16EF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443918-0553-FAE5-0E1B-396510FF264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1BA6E1-9A05-301B-5EDE-442CD8295BA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C844A1-D664-026D-8F27-854CBD36CD9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62CB8C-204F-DB69-4B9E-7C0934AAF59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07C4D0-7689-FDC2-B639-6FB8C3AC9C5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CA34DC-E190-145E-340A-D72DB164289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0947F6-D126-9105-FF7D-574A0CA2D3C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98BE53-691E-CC4B-F52B-6E95122A1C4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7DD433-8F1B-2374-F816-94A470103C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7C6896-3CE5-73BC-DB03-28E0DF861AD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1C06478-5263-BD69-FDB5-75918ECD389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926BF4-F03A-7B46-31D4-671DF1781F1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33CE0E7-7612-5104-3344-AA6830F0C1C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FCB28-B88E-D6EB-DE7E-B7097A88ADF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DF632E-5ECE-4863-173A-A096C0191E5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C2E9BE-65F4-25BC-6041-EA1918C4031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0BAD88-4E58-CCED-6191-D9D6D95D031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7CE633F-9DDA-B1AA-87A4-BC6DDEE8AC8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A02F886-771D-51F0-70DB-8C1242099313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576C8352-A926-0CE3-84D4-0FC55B0996C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2DCE3C9-0D49-B320-900B-F46F253FB9A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6EC4815-A773-B6EE-D428-2432376D2F8D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DF3445D2-545D-39A3-9D20-B9F4D83619E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B0CD0F-63F4-58D8-AAAD-744A6CA656C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E904F2-5BB2-935C-B944-96BC891CA6E3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24A2B9E-7BBA-8179-3996-30253ABE87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358DE48-2416-4285-771E-1F851C33C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BDC4DE2-F884-444B-A733-524AF616F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63E8C3B-9EC5-6456-FCF9-FE18956FB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DF42E2A-90A6-A7B9-9943-C0984FE39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07EB4F95-5F3A-8157-2647-67C4AE891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4C1DE77-86E1-9F1B-289D-2B5521F92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FB4595EE-B887-1B12-D65C-8A6FA2B6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0D443A-E73C-0A8A-10FF-07B2FFCF0FC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01CA42-1DD2-ACE3-B661-4C2DD25455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2A613-835B-486C-8EEE-05D0758BDAD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1AAD14-6DF8-3B92-1E02-E5F68EFFCF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7118CC-B1DC-21A9-4526-2ABCDAD1DAD2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4D01EA-8B32-ACCA-82DF-26C0616C53DD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9356E26-E61D-B885-8E2F-827A6294D9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0ADE990-D475-5B47-4D0F-227C1675E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2E61893-24D0-0B45-3D9E-034A6B6ED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4AE35A8-33CC-546C-941B-4218E016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032FAC3-CE2A-5F18-B4B8-70128F30A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4F2C6D9-183E-EEFB-58E8-43E687AA31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4B609B73-1ADF-BCF9-431D-EC969D07F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61142D-B899-14B2-E136-C18B521A0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04E82D8-519B-BC62-22F8-45EC4C9DB56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705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915AA-892B-CA49-264F-429894B89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5B1429B-0C78-02DB-07AB-77EADAB9C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5B1429B-0C78-02DB-07AB-77EADAB9C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55DD5B-2FC0-6BDB-7BB4-926A22137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275938-83C7-AD54-1CA0-5ED9DB5415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48931E-E980-8B0F-EF5F-C8662D54D42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D9A0C6-65E7-50BC-297D-8AC7097C6A8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12B4BF-CED9-72CF-D6AB-30A4F178D61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756705-8FBF-9EC4-1054-D4B4415A0CF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FD0D4E-9077-C6C0-B95A-C4BE92A261A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068C76-5C52-5C6E-47A5-90C7BB583921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6518F0-41E4-6DDB-1AD9-345F4340C1F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E38988-813B-2C75-3E7C-F7100A84099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DFF4AA-C704-2680-2869-E90B8F7ADE0B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B6504C-0135-7A81-A517-3D9AED9A5F9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24A8C13-8EB2-3CB4-D8F1-2A53C2254C38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136031-74DD-4FE5-2893-27ADD10610A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B6DD46-BA54-BDBE-AA47-5494D7EAE18E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712305-7590-79E2-0973-38DA1C39EA4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774CB6-553C-D017-3B90-3D3F91CEEC9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2B6AB58-9C80-DBAE-6E70-A6059734B35F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00EDE2-928D-B3C7-F1C0-54B5333DB4D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B4F36B51-D8F1-93F8-80AC-3B3C864B6DAD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A7A14EB-F1DB-1593-7D3E-9135229AE006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EC86656C-BF1B-2D2B-779E-74977CA0808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1CF51B3-47DD-F416-2020-E95FFE818485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D7482323-64EA-F151-3BA1-F842BB947590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C421DD6-6C7E-C8C8-AA0B-E78C4335F04A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69EB48-0A11-E96B-13AD-56C06977B12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6FBA56-C876-EED8-3458-6BB5A7D6D86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46BC873-E2FA-472C-FF03-CB884CEDA6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82F76BB-D859-DABE-90EF-D06120539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4C39365-1952-5F9D-2904-43D222061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DBD0385-95C4-8F2B-7A32-B8F4C14ED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E763A85-E6BA-0430-7567-578B5015C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9E475F8-DACA-1EB7-F0D7-BB926024D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AF043E-C0D6-5776-6711-E8A8CD035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25F0030-0F69-3BF5-E6D9-5D6974977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185C231-F906-38C4-9A11-1D90A554D680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1F5127-33EB-AD44-B9E9-E4928D097F0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2BB63B-BE74-5D3A-4937-E0CC6EE42C5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B0F2D2-DC22-2ACB-BCD2-28211F424D8B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181E5A-BA13-9A07-47E1-478BB105DD2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73461A-9343-56D0-87CD-E1877FC5B8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F18432D-73C4-DFC6-4759-AA8E506EA6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829CC3E-5B4C-1D45-338A-EAFAA31A6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5F312114-0027-31DD-5A43-82720920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0D94264-137E-FA30-0267-136A5DB6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FB91882-7C50-2356-B8FC-4B436DBD1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2D433E2-F940-8DD9-530C-18F5BF491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B7E7651-29D0-EEDB-B1DA-C28E0AE3A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96631F03-0457-A3FC-7B3F-DA8C6ECC6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019778B8-5297-0D70-CD28-EA7B36911F4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7121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20488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234 - 180 SMC PoC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arol Marchesy, Nitin Singil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Started in Sprint 4 (Oct 20), collect requirements, then check feasi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85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AL-OIA-4410 – Opportunity Influence Attribution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Daniel Roth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Attribution model defined, CDP–CRM sync liv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8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8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85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AL-ACC-1207 – Account Prioritization Scoring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Stefan Müller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Scoring logic aligned with sales leadership, pilot running in C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/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/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0957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/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313126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MP-CPM-3301 – Unified Consent &amp; Preference Center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Sophie Lang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onsent objects aligned, integration test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0" sz="1000">
                          <a:solidFill>
                            <a:srgbClr val="000000"/>
                          </a:solidFill>
                        </a:rPr>
                        <a:t>95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5B799-E76B-B8C4-A607-C321ADE30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4456E9-32DE-73F4-A8FF-E8955F0BF5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164ECE89-724B-251C-9756-DE465FFF56B3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8FC7E639-8340-5868-3176-206C85EDA10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A4D73D4F-D0A4-C1F9-F677-F33F10F235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EB0752-EC0A-C104-B127-86A219A437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12BDCAD-50A4-65DD-2C01-6EB073389C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FE29550-601A-6C98-34FE-824B3F045F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E6A5DC69-F80E-211A-BC71-041ACA295F6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DB46E377-760E-0101-824B-866BF66F37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47586BC-2991-0BBF-C8FA-85EEAE04DC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29F59BB-EDD4-9733-EB49-BCF3D5FF668C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69A8E766-E869-BB6F-2A8C-2134E0FAEA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E9F610D-05A9-B3B6-71E6-43183BFE1F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6A811878-11CC-8190-AC78-52BCE5EC8BF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A72F5B09-6D45-245F-CF6F-440D5128E9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997AA20-47BD-58A9-DB91-3167F3231A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1D667157-02C6-6A03-3617-4F949FF3C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718322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/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6B3570F8-0B43-5F37-9FED-733B24F39EDB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F2DEC81-CF3B-14BF-D9D8-7A4B36230D4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DFAE28E1-B624-E295-1806-1E6D752F1A7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5841D4-2A11-A2B7-F3AA-F0BF5DF2A71C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AB04BE80-15B9-02DE-3A31-41122F31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Customer Succes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9F8064-828F-CFE5-81AA-B912E40F161F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EA169-B104-91DA-574E-A0AC6CDE0AF8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4F2D94-954B-BB19-38BC-FDC7C9E49015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5824D7-E27E-36DE-43CF-2FCE4658E6F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4E9E3-DA54-0A3D-B297-4883DC7BFC59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DDD64C-D4C6-72A8-3903-BCA93ADDAC56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DD9054-1BDE-6455-6A38-F8FEB18CE6A2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7060D-E837-E943-407D-30F0EA7E00DF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4DE004-4963-B349-EF2A-69E0BABD0DC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215AAB-BC4E-0CDD-D0C0-ABEA281187D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831F125-7C60-4CE3-DF5F-D757F61F0B3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FA1F0B16-E875-5CB4-C81A-71A38FB3052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377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83930-AE49-5FC2-D654-305DF0016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A68EE6-2FC5-6A9E-392B-17E2EB2F8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CD60743C-2338-A6F8-542A-9EC4B76FF5BF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E3C30A2F-56A5-21D3-81FA-B469D670BA98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4295154A-A1CE-B9EE-127B-3D65B5D075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B612F9B7-63B3-5AD4-0F49-2BF86F1AC7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CE4F74C-2EA5-A9AA-0FB8-706525FF5D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713B12C-1CC6-C82C-2B88-DEBF66E0442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682CBB2-5011-0ED2-0DFE-7EF49F76DDD6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8ED510F4-EF45-D4AA-C767-D7D7750884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C1B0EE27-7072-A466-1624-9F8EB90955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BD2C992-AA45-EA92-5F8B-179CE61BFFDE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87937A1-2067-6451-95A3-635CF68C58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D30CB203-9650-5FE3-0D50-7FD950E1F9D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A4DA8793-78AF-CEBB-9227-685D7AEEF30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00DC979-7B51-816E-2AAC-008EEE3CF4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274F7D3C-C442-87EB-988A-64DE5461B6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BD3181A8-0A3F-3965-7B7C-EAAED8CC4B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74312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8E7BCD3C-2844-94D2-8004-05E5CD4C6DE1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C14CC12-9353-3856-7222-80A273FBCDA2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3579E1B0-561A-DF5D-8B36-D4B6A6CB8AF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75D36F-0FDC-0A6F-996E-880AB506EAFB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526A5A3-1054-CD59-CC31-95135D865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Fin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50749E-8D26-5ED5-56F6-585394FB035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E6B824-D390-74AB-F7A2-6AFE0FDE273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A71A7D-0115-4485-3CF4-95E7F8B56C3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B980C4-15FB-DEE2-F9B7-B73F2EFAE24A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6EF967-B31C-3080-BD75-1CBF0BD57D9F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C873CF-FE35-7032-7B49-4319BB9E42B5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4949C-EC75-AFC4-B791-06D1661BDE2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682094-426C-FBB1-18E2-EBD4A7874415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64FCE5-FFDB-A841-8751-3B96BB0F4AD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2859FD-D943-4298-8BBD-A8079551E29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A4E6573-3BD1-8E40-663E-D988210DC2D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1A91F9E1-211C-1171-0C31-847E827AB9D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541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Net New Account Qualification &amp; Conversion Processes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Krishn Kumala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his is the os for test purpose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AL-PLQ-2098 – Predictive Lead Qualification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Markus Klein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esting in Sales Sandbox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A23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S-USE-1402 – Product Usage Analytics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Miriam Vogt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Design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b="0" sz="1100">
                <a:solidFill>
                  <a:srgbClr val="000000"/>
                </a:solidFill>
              </a:rPr>
              <a:t>All CDP Foundational Use Cases are on track and will enable business adoption.</a:t>
            </a:r>
            <a:r>
              <a:rPr sz="700"/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3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4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16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1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24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0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8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9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48165AA7-FCD4-45E8-91C2-2E8798F7DA7A}">
  <ds:schemaRefs/>
</ds:datastoreItem>
</file>

<file path=customXml/itemProps10.xml><?xml version="1.0" encoding="utf-8"?>
<ds:datastoreItem xmlns:ds="http://schemas.openxmlformats.org/officeDocument/2006/customXml" ds:itemID="{BE35CB75-D316-A442-AF6F-E30B686305AD}">
  <ds:schemaRefs/>
</ds:datastoreItem>
</file>

<file path=customXml/itemProps11.xml><?xml version="1.0" encoding="utf-8"?>
<ds:datastoreItem xmlns:ds="http://schemas.openxmlformats.org/officeDocument/2006/customXml" ds:itemID="{5205743A-69BE-4083-94E2-7B4DB7E3C7E8}">
  <ds:schemaRefs/>
</ds:datastoreItem>
</file>

<file path=customXml/itemProps12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2346D7F6-9001-43CB-BA55-744322C55379}">
  <ds:schemaRefs/>
</ds:datastoreItem>
</file>

<file path=customXml/itemProps14.xml><?xml version="1.0" encoding="utf-8"?>
<ds:datastoreItem xmlns:ds="http://schemas.openxmlformats.org/officeDocument/2006/customXml" ds:itemID="{63FADC4E-365B-4554-8E59-C720A861D5CA}">
  <ds:schemaRefs/>
</ds:datastoreItem>
</file>

<file path=customXml/itemProps15.xml><?xml version="1.0" encoding="utf-8"?>
<ds:datastoreItem xmlns:ds="http://schemas.openxmlformats.org/officeDocument/2006/customXml" ds:itemID="{DAADC99B-5A83-456A-8BCD-707A23A28C1F}">
  <ds:schemaRefs/>
</ds:datastoreItem>
</file>

<file path=customXml/itemProps16.xml><?xml version="1.0" encoding="utf-8"?>
<ds:datastoreItem xmlns:ds="http://schemas.openxmlformats.org/officeDocument/2006/customXml" ds:itemID="{C678E196-AE5D-4AB0-B3F0-0D6FA84851B1}">
  <ds:schemaRefs/>
</ds:datastoreItem>
</file>

<file path=customXml/itemProps17.xml><?xml version="1.0" encoding="utf-8"?>
<ds:datastoreItem xmlns:ds="http://schemas.openxmlformats.org/officeDocument/2006/customXml" ds:itemID="{D06AD3D1-7FF9-4536-AD60-A17870F90738}">
  <ds:schemaRefs/>
</ds:datastoreItem>
</file>

<file path=customXml/itemProps18.xml><?xml version="1.0" encoding="utf-8"?>
<ds:datastoreItem xmlns:ds="http://schemas.openxmlformats.org/officeDocument/2006/customXml" ds:itemID="{DF651907-6C10-4999-BBD5-6BFD17F65FC4}">
  <ds:schemaRefs/>
</ds:datastoreItem>
</file>

<file path=customXml/itemProps19.xml><?xml version="1.0" encoding="utf-8"?>
<ds:datastoreItem xmlns:ds="http://schemas.openxmlformats.org/officeDocument/2006/customXml" ds:itemID="{98EE72E3-5203-4D39-A131-E9DD8A16EDC4}">
  <ds:schemaRefs/>
</ds:datastoreItem>
</file>

<file path=customXml/itemProps2.xml><?xml version="1.0" encoding="utf-8"?>
<ds:datastoreItem xmlns:ds="http://schemas.openxmlformats.org/officeDocument/2006/customXml" ds:itemID="{3B62FFE9-ED73-4F57-B7FD-1898883AC30C}">
  <ds:schemaRefs/>
</ds:datastoreItem>
</file>

<file path=customXml/itemProps20.xml><?xml version="1.0" encoding="utf-8"?>
<ds:datastoreItem xmlns:ds="http://schemas.openxmlformats.org/officeDocument/2006/customXml" ds:itemID="{D6037B97-3794-423A-803A-B94879121092}">
  <ds:schemaRefs/>
</ds:datastoreItem>
</file>

<file path=customXml/itemProps21.xml><?xml version="1.0" encoding="utf-8"?>
<ds:datastoreItem xmlns:ds="http://schemas.openxmlformats.org/officeDocument/2006/customXml" ds:itemID="{E1E2A403-39C3-4FC8-B841-41CD46EF1E37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CC49FFC8-2FF3-4057-96F0-3BCD1A4F0351}">
  <ds:schemaRefs/>
</ds:datastoreItem>
</file>

<file path=customXml/itemProps24.xml><?xml version="1.0" encoding="utf-8"?>
<ds:datastoreItem xmlns:ds="http://schemas.openxmlformats.org/officeDocument/2006/customXml" ds:itemID="{CD69D8E4-3079-0947-A87B-18CDAB899542}">
  <ds:schemaRefs/>
</ds:datastoreItem>
</file>

<file path=customXml/itemProps25.xml><?xml version="1.0" encoding="utf-8"?>
<ds:datastoreItem xmlns:ds="http://schemas.openxmlformats.org/officeDocument/2006/customXml" ds:itemID="{20AD2FA6-6913-43F7-86DE-8AF1545F9903}">
  <ds:schemaRefs/>
</ds:datastoreItem>
</file>

<file path=customXml/itemProps26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7.xml><?xml version="1.0" encoding="utf-8"?>
<ds:datastoreItem xmlns:ds="http://schemas.openxmlformats.org/officeDocument/2006/customXml" ds:itemID="{EA0EFD7B-A280-45FB-AEC3-B703B28210D9}">
  <ds:schemaRefs/>
</ds:datastoreItem>
</file>

<file path=customXml/itemProps28.xml><?xml version="1.0" encoding="utf-8"?>
<ds:datastoreItem xmlns:ds="http://schemas.openxmlformats.org/officeDocument/2006/customXml" ds:itemID="{80CA586D-470E-4965-80EA-F4B9D379E73D}">
  <ds:schemaRefs/>
</ds:datastoreItem>
</file>

<file path=customXml/itemProps29.xml><?xml version="1.0" encoding="utf-8"?>
<ds:datastoreItem xmlns:ds="http://schemas.openxmlformats.org/officeDocument/2006/customXml" ds:itemID="{1EC17535-8D28-4922-81E0-ECD6F4BFCC98}">
  <ds:schemaRefs/>
</ds:datastoreItem>
</file>

<file path=customXml/itemProps3.xml><?xml version="1.0" encoding="utf-8"?>
<ds:datastoreItem xmlns:ds="http://schemas.openxmlformats.org/officeDocument/2006/customXml" ds:itemID="{8682EF99-B695-484F-8968-7BFAD92BDA4A}">
  <ds:schemaRefs/>
</ds:datastoreItem>
</file>

<file path=customXml/itemProps30.xml><?xml version="1.0" encoding="utf-8"?>
<ds:datastoreItem xmlns:ds="http://schemas.openxmlformats.org/officeDocument/2006/customXml" ds:itemID="{118DC9FA-6E7A-134A-A4CB-DB7E25529BCD}">
  <ds:schemaRefs/>
</ds:datastoreItem>
</file>

<file path=customXml/itemProps31.xml><?xml version="1.0" encoding="utf-8"?>
<ds:datastoreItem xmlns:ds="http://schemas.openxmlformats.org/officeDocument/2006/customXml" ds:itemID="{FB378D73-682D-4B5C-B045-A467836EDC7E}">
  <ds:schemaRefs/>
</ds:datastoreItem>
</file>

<file path=customXml/itemProps32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47E12206-FAC1-4A56-A73A-215CACDF02F8}">
  <ds:schemaRefs/>
</ds:datastoreItem>
</file>

<file path=customXml/itemProps35.xml><?xml version="1.0" encoding="utf-8"?>
<ds:datastoreItem xmlns:ds="http://schemas.openxmlformats.org/officeDocument/2006/customXml" ds:itemID="{935C6D9D-19E8-4631-A552-DB446407D2A4}">
  <ds:schemaRefs/>
</ds:datastoreItem>
</file>

<file path=customXml/itemProps36.xml><?xml version="1.0" encoding="utf-8"?>
<ds:datastoreItem xmlns:ds="http://schemas.openxmlformats.org/officeDocument/2006/customXml" ds:itemID="{94BD63B6-D21E-46C4-815E-3B295ED02A9C}">
  <ds:schemaRefs/>
</ds:datastoreItem>
</file>

<file path=customXml/itemProps37.xml><?xml version="1.0" encoding="utf-8"?>
<ds:datastoreItem xmlns:ds="http://schemas.openxmlformats.org/officeDocument/2006/customXml" ds:itemID="{23FA4614-B246-4ED4-A39C-2DEE012E4E41}">
  <ds:schemaRefs/>
</ds:datastoreItem>
</file>

<file path=customXml/itemProps38.xml><?xml version="1.0" encoding="utf-8"?>
<ds:datastoreItem xmlns:ds="http://schemas.openxmlformats.org/officeDocument/2006/customXml" ds:itemID="{0EB72D09-D760-46C8-9C95-8879EFB64293}">
  <ds:schemaRefs/>
</ds:datastoreItem>
</file>

<file path=customXml/itemProps39.xml><?xml version="1.0" encoding="utf-8"?>
<ds:datastoreItem xmlns:ds="http://schemas.openxmlformats.org/officeDocument/2006/customXml" ds:itemID="{F7A688B5-CEE6-4F55-B294-130EFC5DB101}">
  <ds:schemaRefs/>
</ds:datastoreItem>
</file>

<file path=customXml/itemProps4.xml><?xml version="1.0" encoding="utf-8"?>
<ds:datastoreItem xmlns:ds="http://schemas.openxmlformats.org/officeDocument/2006/customXml" ds:itemID="{BC5403FE-05BE-4E98-A273-D056C995E512}">
  <ds:schemaRefs/>
</ds:datastoreItem>
</file>

<file path=customXml/itemProps40.xml><?xml version="1.0" encoding="utf-8"?>
<ds:datastoreItem xmlns:ds="http://schemas.openxmlformats.org/officeDocument/2006/customXml" ds:itemID="{53C0C564-F4BC-4CB7-A46F-7534E4F7BCE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C1482805-839B-4917-A350-F14E209159EB}">
  <ds:schemaRefs/>
</ds:datastoreItem>
</file>

<file path=customXml/itemProps43.xml><?xml version="1.0" encoding="utf-8"?>
<ds:datastoreItem xmlns:ds="http://schemas.openxmlformats.org/officeDocument/2006/customXml" ds:itemID="{184FDB0B-513E-4564-83E3-30C2A67FA462}">
  <ds:schemaRefs/>
</ds:datastoreItem>
</file>

<file path=customXml/itemProps44.xml><?xml version="1.0" encoding="utf-8"?>
<ds:datastoreItem xmlns:ds="http://schemas.openxmlformats.org/officeDocument/2006/customXml" ds:itemID="{AAC26940-3727-49BE-BF62-CC423E64F2BD}">
  <ds:schemaRefs/>
</ds:datastoreItem>
</file>

<file path=customXml/itemProps45.xml><?xml version="1.0" encoding="utf-8"?>
<ds:datastoreItem xmlns:ds="http://schemas.openxmlformats.org/officeDocument/2006/customXml" ds:itemID="{538A7E94-9A75-944B-BB53-DAD192A33F0F}">
  <ds:schemaRefs/>
</ds:datastoreItem>
</file>

<file path=customXml/itemProps46.xml><?xml version="1.0" encoding="utf-8"?>
<ds:datastoreItem xmlns:ds="http://schemas.openxmlformats.org/officeDocument/2006/customXml" ds:itemID="{C2AC838F-3192-4042-96C7-6D081523F5A1}">
  <ds:schemaRefs/>
</ds:datastoreItem>
</file>

<file path=customXml/itemProps47.xml><?xml version="1.0" encoding="utf-8"?>
<ds:datastoreItem xmlns:ds="http://schemas.openxmlformats.org/officeDocument/2006/customXml" ds:itemID="{475AB362-7E2C-4295-A530-7B284247BFC6}">
  <ds:schemaRefs/>
</ds:datastoreItem>
</file>

<file path=customXml/itemProps48.xml><?xml version="1.0" encoding="utf-8"?>
<ds:datastoreItem xmlns:ds="http://schemas.openxmlformats.org/officeDocument/2006/customXml" ds:itemID="{92690E7D-4F9F-4E12-9E4E-BAEC04D5A7CC}">
  <ds:schemaRefs/>
</ds:datastoreItem>
</file>

<file path=customXml/itemProps49.xml><?xml version="1.0" encoding="utf-8"?>
<ds:datastoreItem xmlns:ds="http://schemas.openxmlformats.org/officeDocument/2006/customXml" ds:itemID="{7EE19871-72D1-4A79-AC35-D7B297494921}">
  <ds:schemaRefs/>
</ds:datastoreItem>
</file>

<file path=customXml/itemProps5.xml><?xml version="1.0" encoding="utf-8"?>
<ds:datastoreItem xmlns:ds="http://schemas.openxmlformats.org/officeDocument/2006/customXml" ds:itemID="{7A474179-D5E4-437A-B70C-9919B93CA02F}">
  <ds:schemaRefs/>
</ds:datastoreItem>
</file>

<file path=customXml/itemProps50.xml><?xml version="1.0" encoding="utf-8"?>
<ds:datastoreItem xmlns:ds="http://schemas.openxmlformats.org/officeDocument/2006/customXml" ds:itemID="{12438972-7D18-4481-AF51-532E67A63E1E}">
  <ds:schemaRefs/>
</ds:datastoreItem>
</file>

<file path=customXml/itemProps51.xml><?xml version="1.0" encoding="utf-8"?>
<ds:datastoreItem xmlns:ds="http://schemas.openxmlformats.org/officeDocument/2006/customXml" ds:itemID="{D505826A-FD3B-4FAC-9437-FB4AF9F44F1B}">
  <ds:schemaRefs/>
</ds:datastoreItem>
</file>

<file path=customXml/itemProps6.xml><?xml version="1.0" encoding="utf-8"?>
<ds:datastoreItem xmlns:ds="http://schemas.openxmlformats.org/officeDocument/2006/customXml" ds:itemID="{793AE96A-37D6-4971-A9A5-8EA3F2B2BD93}">
  <ds:schemaRefs/>
</ds:datastoreItem>
</file>

<file path=customXml/itemProps7.xml><?xml version="1.0" encoding="utf-8"?>
<ds:datastoreItem xmlns:ds="http://schemas.openxmlformats.org/officeDocument/2006/customXml" ds:itemID="{6638E641-279B-4AC7-A8AC-1DE9953C4894}">
  <ds:schemaRefs/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9C3868F0-118E-4F4D-99EC-60B093FD1E00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5677</Words>
  <Application>Microsoft Macintosh PowerPoint</Application>
  <PresentationFormat>Benutzerdefiniert</PresentationFormat>
  <Paragraphs>1525</Paragraphs>
  <Slides>38</Slides>
  <Notes>3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60" baseType="lpstr">
      <vt:lpstr>Arial</vt:lpstr>
      <vt:lpstr>Wingdings</vt:lpstr>
      <vt:lpstr>Symbol</vt:lpstr>
      <vt:lpstr>Roboto</vt:lpstr>
      <vt:lpstr>Wingdings,Sans-Serif</vt:lpstr>
      <vt:lpstr>Calibri</vt:lpstr>
      <vt:lpstr>Graphik Light</vt:lpstr>
      <vt:lpstr>Consolas</vt:lpstr>
      <vt:lpstr>72 Brand Medium</vt:lpstr>
      <vt:lpstr>Wingdings</vt:lpstr>
      <vt:lpstr>Arial Unicode MS</vt:lpstr>
      <vt:lpstr>72</vt:lpstr>
      <vt:lpstr>Segoe UI</vt:lpstr>
      <vt:lpstr>72 Bold</vt:lpstr>
      <vt:lpstr>Arial,Sans-Serif</vt:lpstr>
      <vt:lpstr>72 Brand</vt:lpstr>
      <vt:lpstr>Courier New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1. CDP Business Use Cases | Customer Success – Status &amp; Use Case Heatmap</vt:lpstr>
      <vt:lpstr>1. CDP Business Use Cases | Finance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70</cp:revision>
  <dcterms:created xsi:type="dcterms:W3CDTF">2024-09-16T15:04:13Z</dcterms:created>
  <dcterms:modified xsi:type="dcterms:W3CDTF">2026-01-31T16:14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